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76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8/2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26/08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#&lt;&gt;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&lt;Name&gt;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(in your own words)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 (in your own words)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1 and my plan to overcome them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GitHub link of your solution/documentation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2 and my plan to overcome them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GitHub link of your solution/documentation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3 and my plan to overcome them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GitHub link of your solution/documentation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tails of actions planned for the new lrearning or overcoming the challenge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planned timeline to implement the actions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tus of the same by the end of the week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lease share how ”Your” learning was fun this week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Details of any group activity</a:t>
            </a:r>
          </a:p>
          <a:p>
            <a:r>
              <a:rPr lang="en-US" sz="2000" dirty="0"/>
              <a:t>Details of any funny incident which had an element of new learning for this week’s topic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[Add a graphic or a picture of how you/your team enjoyed the new learning]</a:t>
            </a:r>
          </a:p>
        </p:txBody>
      </p:sp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/>
              <a:t>Quick summary</a:t>
            </a:r>
          </a:p>
          <a:p>
            <a:pPr>
              <a:lnSpc>
                <a:spcPct val="100000"/>
              </a:lnSpc>
            </a:pPr>
            <a:endParaRPr lang="en-US" sz="2000" dirty="0"/>
          </a:p>
          <a:p>
            <a:pPr>
              <a:lnSpc>
                <a:spcPct val="100000"/>
              </a:lnSpc>
            </a:pPr>
            <a:r>
              <a:rPr lang="en-US" sz="1800" dirty="0"/>
              <a:t>Importance of topics of upcoming week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Connectivity of topics from current week</a:t>
            </a:r>
          </a:p>
          <a:p>
            <a:pPr marL="457200" indent="-457200"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/>
              <a:t>Please share a phrase that represents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/>
              <a:t>your motto in life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/>
              <a:t>Please share an image / visual that best represents you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Please share (in your own words) details of the learning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/>
          </a:p>
          <a:p>
            <a:r>
              <a:rPr lang="en-US" sz="2000"/>
              <a:t>Key learning</a:t>
            </a:r>
          </a:p>
          <a:p>
            <a:r>
              <a:rPr lang="en-US" sz="2000"/>
              <a:t>Key takeaway</a:t>
            </a:r>
          </a:p>
          <a:p>
            <a:r>
              <a:rPr lang="en-US" sz="2000"/>
              <a:t>How do I personally see this concept implemented in the Energy secto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Please share (in your own words) details of the learning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/>
          </a:p>
          <a:p>
            <a:r>
              <a:rPr lang="en-US" sz="2000"/>
              <a:t>Key learning</a:t>
            </a:r>
          </a:p>
          <a:p>
            <a:r>
              <a:rPr lang="en-US" sz="2000"/>
              <a:t>Key takeaway</a:t>
            </a:r>
          </a:p>
          <a:p>
            <a:r>
              <a:rPr lang="en-US" sz="2000"/>
              <a:t>How do I personally see this concept implemented in the Energy secto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Please share (in your own words) details of the learning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/>
          </a:p>
          <a:p>
            <a:r>
              <a:rPr lang="en-US" sz="2000"/>
              <a:t>Key learning</a:t>
            </a:r>
          </a:p>
          <a:p>
            <a:r>
              <a:rPr lang="en-US" sz="2000"/>
              <a:t>Key takeaway</a:t>
            </a:r>
          </a:p>
          <a:p>
            <a:r>
              <a:rPr lang="en-US" sz="2000"/>
              <a:t>How do I personally see this concept implemented in the Energy secto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(in your own words)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 (in your own words)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(in your own words)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 (in your own words)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687</TotalTime>
  <Words>597</Words>
  <Application>Microsoft Office PowerPoint</Application>
  <PresentationFormat>Widescreen</PresentationFormat>
  <Paragraphs>103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Bhushan Madapura [UNext]</cp:lastModifiedBy>
  <cp:revision>499</cp:revision>
  <dcterms:created xsi:type="dcterms:W3CDTF">2022-01-18T12:35:56Z</dcterms:created>
  <dcterms:modified xsi:type="dcterms:W3CDTF">2024-08-26T15:2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